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6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tockChart>
        <c:ser>
          <c:idx val="0"/>
          <c:order val="0"/>
          <c:tx>
            <c:strRef>
              <c:f>Sheet1!$B$1</c:f>
              <c:strCache>
                <c:ptCount val="1"/>
                <c:pt idx="0">
                  <c:v>Open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44</c:v>
                </c:pt>
                <c:pt idx="1">
                  <c:v>25</c:v>
                </c:pt>
                <c:pt idx="2">
                  <c:v>38</c:v>
                </c:pt>
                <c:pt idx="3">
                  <c:v>50</c:v>
                </c:pt>
                <c:pt idx="4">
                  <c:v>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7D3-4075-95B4-D55CD7E490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igh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55</c:v>
                </c:pt>
                <c:pt idx="1">
                  <c:v>57</c:v>
                </c:pt>
                <c:pt idx="2">
                  <c:v>57</c:v>
                </c:pt>
                <c:pt idx="3">
                  <c:v>58</c:v>
                </c:pt>
                <c:pt idx="4">
                  <c:v>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D3-4075-95B4-D55CD7E490E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w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11</c:v>
                </c:pt>
                <c:pt idx="1">
                  <c:v>12</c:v>
                </c:pt>
                <c:pt idx="2">
                  <c:v>13</c:v>
                </c:pt>
                <c:pt idx="3">
                  <c:v>11</c:v>
                </c:pt>
                <c:pt idx="4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D3-4075-95B4-D55CD7E490E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lose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25</c:v>
                </c:pt>
                <c:pt idx="1">
                  <c:v>38</c:v>
                </c:pt>
                <c:pt idx="2">
                  <c:v>50</c:v>
                </c:pt>
                <c:pt idx="3">
                  <c:v>34</c:v>
                </c:pt>
                <c:pt idx="4">
                  <c:v>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D3-4075-95B4-D55CD7E49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round/>
            </a:ln>
            <a:effectLst/>
          </c:spPr>
        </c:hiLowLines>
        <c:upDownBars>
          <c:gapWidth val="150"/>
          <c:upBars>
            <c:spPr>
              <a:solidFill>
                <a:schemeClr val="accent2"/>
              </a:solidFill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upBars>
          <c:downBars>
            <c:spPr>
              <a:solidFill>
                <a:schemeClr val="accent1"/>
              </a:solidFill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downBars>
        </c:upDownBars>
        <c:axId val="223203952"/>
        <c:axId val="223194832"/>
      </c:stockChart>
      <c:dateAx>
        <c:axId val="22320395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194832"/>
        <c:crosses val="autoZero"/>
        <c:auto val="1"/>
        <c:lblOffset val="100"/>
        <c:baseTimeUnit val="months"/>
      </c:dateAx>
      <c:valAx>
        <c:axId val="223194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203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A29F53-68C1-DEDB-97AB-DB839A10DC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66F1393-D552-60C1-13DD-0C71E0AE51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6F1393-D552-60C1-13DD-0C71E0AE5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2E356745-555E-5668-1FF2-9C30C0768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ock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F946A78-911F-11CD-6C20-AC0597C78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6A30D9E0-ACBE-0361-036A-5164651466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1B83EB2-53CF-6406-BD3B-7D38DE8FD57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F9367942-7BD9-1E9A-F4D9-6C0D4D1A9627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57192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5</TotalTime>
  <Words>14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ock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66</cp:revision>
  <dcterms:created xsi:type="dcterms:W3CDTF">2025-07-09T10:57:17Z</dcterms:created>
  <dcterms:modified xsi:type="dcterms:W3CDTF">2025-10-22T09:50:14Z</dcterms:modified>
  <cp:category/>
</cp:coreProperties>
</file>